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13"/>
  </p:notesMasterIdLst>
  <p:sldIdLst>
    <p:sldId id="275" r:id="rId7"/>
    <p:sldId id="274" r:id="rId8"/>
    <p:sldId id="289" r:id="rId9"/>
    <p:sldId id="315" r:id="rId10"/>
    <p:sldId id="316" r:id="rId11"/>
    <p:sldId id="314" r:id="rId12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Agenda" id="{FBC0E280-BEC4-40CF-9F9F-DEF75DC330B0}">
          <p14:sldIdLst>
            <p14:sldId id="274"/>
          </p14:sldIdLst>
        </p14:section>
        <p14:section name="Inhalt" id="{9143C095-ADCB-48C6-BBF9-4399ACA44AAA}">
          <p14:sldIdLst>
            <p14:sldId id="289"/>
            <p14:sldId id="315"/>
            <p14:sldId id="316"/>
            <p14:sldId id="314"/>
          </p14:sldIdLst>
        </p14:section>
        <p14:section name="Text und Bild" id="{8B1E546A-C040-4A00-B2B4-B7A78D2D67B9}">
          <p14:sldIdLst/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iuliano 'Giulli' Montorio" initials="G'M" lastIdx="1" clrIdx="0">
    <p:extLst>
      <p:ext uri="{19B8F6BF-5375-455C-9EA6-DF929625EA0E}">
        <p15:presenceInfo xmlns:p15="http://schemas.microsoft.com/office/powerpoint/2012/main" userId="71a188040e8cb8d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4" autoAdjust="0"/>
    <p:restoredTop sz="89620" autoAdjust="0"/>
  </p:normalViewPr>
  <p:slideViewPr>
    <p:cSldViewPr snapToGrid="0" showGuides="1">
      <p:cViewPr varScale="1">
        <p:scale>
          <a:sx n="103" d="100"/>
          <a:sy n="103" d="100"/>
        </p:scale>
        <p:origin x="138" y="378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18.06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-17357" y="3591427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5627" b="37003"/>
          <a:stretch/>
        </p:blipFill>
        <p:spPr bwMode="auto">
          <a:xfrm>
            <a:off x="0" y="0"/>
            <a:ext cx="12192000" cy="6885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eck 5"/>
          <p:cNvSpPr/>
          <p:nvPr/>
        </p:nvSpPr>
        <p:spPr>
          <a:xfrm>
            <a:off x="349816" y="-6180"/>
            <a:ext cx="5746184" cy="6891563"/>
          </a:xfrm>
          <a:custGeom>
            <a:avLst/>
            <a:gdLst>
              <a:gd name="connsiteX0" fmla="*/ 0 w 3724176"/>
              <a:gd name="connsiteY0" fmla="*/ 0 h 6885384"/>
              <a:gd name="connsiteX1" fmla="*/ 3724176 w 3724176"/>
              <a:gd name="connsiteY1" fmla="*/ 0 h 6885384"/>
              <a:gd name="connsiteX2" fmla="*/ 3724176 w 3724176"/>
              <a:gd name="connsiteY2" fmla="*/ 6885384 h 6885384"/>
              <a:gd name="connsiteX3" fmla="*/ 0 w 3724176"/>
              <a:gd name="connsiteY3" fmla="*/ 6885384 h 6885384"/>
              <a:gd name="connsiteX4" fmla="*/ 0 w 3724176"/>
              <a:gd name="connsiteY4" fmla="*/ 0 h 6885384"/>
              <a:gd name="connsiteX0" fmla="*/ 5080 w 3729256"/>
              <a:gd name="connsiteY0" fmla="*/ 0 h 6885384"/>
              <a:gd name="connsiteX1" fmla="*/ 3729256 w 3729256"/>
              <a:gd name="connsiteY1" fmla="*/ 0 h 6885384"/>
              <a:gd name="connsiteX2" fmla="*/ 3729256 w 3729256"/>
              <a:gd name="connsiteY2" fmla="*/ 6885384 h 6885384"/>
              <a:gd name="connsiteX3" fmla="*/ 5080 w 3729256"/>
              <a:gd name="connsiteY3" fmla="*/ 6885384 h 6885384"/>
              <a:gd name="connsiteX4" fmla="*/ 0 w 3729256"/>
              <a:gd name="connsiteY4" fmla="*/ 1470660 h 6885384"/>
              <a:gd name="connsiteX5" fmla="*/ 5080 w 3729256"/>
              <a:gd name="connsiteY5" fmla="*/ 0 h 6885384"/>
              <a:gd name="connsiteX0" fmla="*/ 277374 w 4001550"/>
              <a:gd name="connsiteY0" fmla="*/ 0 h 6885384"/>
              <a:gd name="connsiteX1" fmla="*/ 4001550 w 4001550"/>
              <a:gd name="connsiteY1" fmla="*/ 0 h 6885384"/>
              <a:gd name="connsiteX2" fmla="*/ 4001550 w 4001550"/>
              <a:gd name="connsiteY2" fmla="*/ 6885384 h 6885384"/>
              <a:gd name="connsiteX3" fmla="*/ 277374 w 4001550"/>
              <a:gd name="connsiteY3" fmla="*/ 6885384 h 6885384"/>
              <a:gd name="connsiteX4" fmla="*/ 272294 w 4001550"/>
              <a:gd name="connsiteY4" fmla="*/ 2225040 h 6885384"/>
              <a:gd name="connsiteX5" fmla="*/ 272294 w 4001550"/>
              <a:gd name="connsiteY5" fmla="*/ 1470660 h 6885384"/>
              <a:gd name="connsiteX6" fmla="*/ 277374 w 4001550"/>
              <a:gd name="connsiteY6" fmla="*/ 0 h 6885384"/>
              <a:gd name="connsiteX0" fmla="*/ 5716 w 3729892"/>
              <a:gd name="connsiteY0" fmla="*/ 0 h 6885384"/>
              <a:gd name="connsiteX1" fmla="*/ 3729892 w 3729892"/>
              <a:gd name="connsiteY1" fmla="*/ 0 h 6885384"/>
              <a:gd name="connsiteX2" fmla="*/ 3729892 w 3729892"/>
              <a:gd name="connsiteY2" fmla="*/ 6885384 h 6885384"/>
              <a:gd name="connsiteX3" fmla="*/ 5716 w 3729892"/>
              <a:gd name="connsiteY3" fmla="*/ 6885384 h 6885384"/>
              <a:gd name="connsiteX4" fmla="*/ 636 w 3729892"/>
              <a:gd name="connsiteY4" fmla="*/ 2225040 h 6885384"/>
              <a:gd name="connsiteX5" fmla="*/ 636 w 3729892"/>
              <a:gd name="connsiteY5" fmla="*/ 1470660 h 6885384"/>
              <a:gd name="connsiteX6" fmla="*/ 5716 w 3729892"/>
              <a:gd name="connsiteY6" fmla="*/ 0 h 6885384"/>
              <a:gd name="connsiteX0" fmla="*/ 5457 w 3729633"/>
              <a:gd name="connsiteY0" fmla="*/ 0 h 6885384"/>
              <a:gd name="connsiteX1" fmla="*/ 3729633 w 3729633"/>
              <a:gd name="connsiteY1" fmla="*/ 0 h 6885384"/>
              <a:gd name="connsiteX2" fmla="*/ 3729633 w 3729633"/>
              <a:gd name="connsiteY2" fmla="*/ 6885384 h 6885384"/>
              <a:gd name="connsiteX3" fmla="*/ 5457 w 3729633"/>
              <a:gd name="connsiteY3" fmla="*/ 6885384 h 6885384"/>
              <a:gd name="connsiteX4" fmla="*/ 377 w 3729633"/>
              <a:gd name="connsiteY4" fmla="*/ 2225040 h 6885384"/>
              <a:gd name="connsiteX5" fmla="*/ 377 w 3729633"/>
              <a:gd name="connsiteY5" fmla="*/ 1805940 h 6885384"/>
              <a:gd name="connsiteX6" fmla="*/ 377 w 3729633"/>
              <a:gd name="connsiteY6" fmla="*/ 1470660 h 6885384"/>
              <a:gd name="connsiteX7" fmla="*/ 5457 w 3729633"/>
              <a:gd name="connsiteY7" fmla="*/ 0 h 6885384"/>
              <a:gd name="connsiteX0" fmla="*/ 5082 w 3729258"/>
              <a:gd name="connsiteY0" fmla="*/ 0 h 6885384"/>
              <a:gd name="connsiteX1" fmla="*/ 3729258 w 3729258"/>
              <a:gd name="connsiteY1" fmla="*/ 0 h 6885384"/>
              <a:gd name="connsiteX2" fmla="*/ 3729258 w 3729258"/>
              <a:gd name="connsiteY2" fmla="*/ 6885384 h 6885384"/>
              <a:gd name="connsiteX3" fmla="*/ 5082 w 3729258"/>
              <a:gd name="connsiteY3" fmla="*/ 6885384 h 6885384"/>
              <a:gd name="connsiteX4" fmla="*/ 2 w 3729258"/>
              <a:gd name="connsiteY4" fmla="*/ 2225040 h 6885384"/>
              <a:gd name="connsiteX5" fmla="*/ 449582 w 3729258"/>
              <a:gd name="connsiteY5" fmla="*/ 1821180 h 6885384"/>
              <a:gd name="connsiteX6" fmla="*/ 2 w 3729258"/>
              <a:gd name="connsiteY6" fmla="*/ 1470660 h 6885384"/>
              <a:gd name="connsiteX7" fmla="*/ 5082 w 3729258"/>
              <a:gd name="connsiteY7" fmla="*/ 0 h 6885384"/>
              <a:gd name="connsiteX0" fmla="*/ 5084 w 3729260"/>
              <a:gd name="connsiteY0" fmla="*/ 0 h 6885384"/>
              <a:gd name="connsiteX1" fmla="*/ 3729260 w 3729260"/>
              <a:gd name="connsiteY1" fmla="*/ 0 h 6885384"/>
              <a:gd name="connsiteX2" fmla="*/ 3729260 w 3729260"/>
              <a:gd name="connsiteY2" fmla="*/ 6885384 h 6885384"/>
              <a:gd name="connsiteX3" fmla="*/ 5084 w 3729260"/>
              <a:gd name="connsiteY3" fmla="*/ 6885384 h 6885384"/>
              <a:gd name="connsiteX4" fmla="*/ 4 w 3729260"/>
              <a:gd name="connsiteY4" fmla="*/ 2225040 h 6885384"/>
              <a:gd name="connsiteX5" fmla="*/ 449584 w 3729260"/>
              <a:gd name="connsiteY5" fmla="*/ 1821180 h 6885384"/>
              <a:gd name="connsiteX6" fmla="*/ 4 w 3729260"/>
              <a:gd name="connsiteY6" fmla="*/ 1470660 h 6885384"/>
              <a:gd name="connsiteX7" fmla="*/ 5084 w 3729260"/>
              <a:gd name="connsiteY7" fmla="*/ 0 h 6885384"/>
              <a:gd name="connsiteX0" fmla="*/ 5082 w 3729258"/>
              <a:gd name="connsiteY0" fmla="*/ 0 h 6885384"/>
              <a:gd name="connsiteX1" fmla="*/ 3729258 w 3729258"/>
              <a:gd name="connsiteY1" fmla="*/ 0 h 6885384"/>
              <a:gd name="connsiteX2" fmla="*/ 3729258 w 3729258"/>
              <a:gd name="connsiteY2" fmla="*/ 6885384 h 6885384"/>
              <a:gd name="connsiteX3" fmla="*/ 5082 w 3729258"/>
              <a:gd name="connsiteY3" fmla="*/ 6885384 h 6885384"/>
              <a:gd name="connsiteX4" fmla="*/ 2 w 3729258"/>
              <a:gd name="connsiteY4" fmla="*/ 2225040 h 6885384"/>
              <a:gd name="connsiteX5" fmla="*/ 449582 w 3729258"/>
              <a:gd name="connsiteY5" fmla="*/ 1821180 h 6885384"/>
              <a:gd name="connsiteX6" fmla="*/ 2 w 3729258"/>
              <a:gd name="connsiteY6" fmla="*/ 1470660 h 6885384"/>
              <a:gd name="connsiteX7" fmla="*/ 5082 w 3729258"/>
              <a:gd name="connsiteY7" fmla="*/ 0 h 6885384"/>
              <a:gd name="connsiteX0" fmla="*/ 5080 w 3729256"/>
              <a:gd name="connsiteY0" fmla="*/ 0 h 6885384"/>
              <a:gd name="connsiteX1" fmla="*/ 3729256 w 3729256"/>
              <a:gd name="connsiteY1" fmla="*/ 0 h 6885384"/>
              <a:gd name="connsiteX2" fmla="*/ 3729256 w 3729256"/>
              <a:gd name="connsiteY2" fmla="*/ 6885384 h 6885384"/>
              <a:gd name="connsiteX3" fmla="*/ 5080 w 3729256"/>
              <a:gd name="connsiteY3" fmla="*/ 6885384 h 6885384"/>
              <a:gd name="connsiteX4" fmla="*/ 0 w 3729256"/>
              <a:gd name="connsiteY4" fmla="*/ 2225040 h 6885384"/>
              <a:gd name="connsiteX5" fmla="*/ 449580 w 3729256"/>
              <a:gd name="connsiteY5" fmla="*/ 1821180 h 6885384"/>
              <a:gd name="connsiteX6" fmla="*/ 0 w 3729256"/>
              <a:gd name="connsiteY6" fmla="*/ 1470660 h 6885384"/>
              <a:gd name="connsiteX7" fmla="*/ 5080 w 3729256"/>
              <a:gd name="connsiteY7" fmla="*/ 0 h 6885384"/>
              <a:gd name="connsiteX0" fmla="*/ 5080 w 3729256"/>
              <a:gd name="connsiteY0" fmla="*/ 0 h 6885384"/>
              <a:gd name="connsiteX1" fmla="*/ 3729256 w 3729256"/>
              <a:gd name="connsiteY1" fmla="*/ 0 h 6885384"/>
              <a:gd name="connsiteX2" fmla="*/ 3729256 w 3729256"/>
              <a:gd name="connsiteY2" fmla="*/ 6885384 h 6885384"/>
              <a:gd name="connsiteX3" fmla="*/ 5080 w 3729256"/>
              <a:gd name="connsiteY3" fmla="*/ 6885384 h 6885384"/>
              <a:gd name="connsiteX4" fmla="*/ 0 w 3729256"/>
              <a:gd name="connsiteY4" fmla="*/ 2225040 h 6885384"/>
              <a:gd name="connsiteX5" fmla="*/ 449580 w 3729256"/>
              <a:gd name="connsiteY5" fmla="*/ 1821180 h 6885384"/>
              <a:gd name="connsiteX6" fmla="*/ 0 w 3729256"/>
              <a:gd name="connsiteY6" fmla="*/ 1470660 h 6885384"/>
              <a:gd name="connsiteX7" fmla="*/ 5080 w 3729256"/>
              <a:gd name="connsiteY7" fmla="*/ 0 h 6885384"/>
              <a:gd name="connsiteX0" fmla="*/ 5080 w 6585056"/>
              <a:gd name="connsiteY0" fmla="*/ 6179 h 6891563"/>
              <a:gd name="connsiteX1" fmla="*/ 6585056 w 6585056"/>
              <a:gd name="connsiteY1" fmla="*/ 0 h 6891563"/>
              <a:gd name="connsiteX2" fmla="*/ 3729256 w 6585056"/>
              <a:gd name="connsiteY2" fmla="*/ 6891563 h 6891563"/>
              <a:gd name="connsiteX3" fmla="*/ 5080 w 6585056"/>
              <a:gd name="connsiteY3" fmla="*/ 6891563 h 6891563"/>
              <a:gd name="connsiteX4" fmla="*/ 0 w 6585056"/>
              <a:gd name="connsiteY4" fmla="*/ 2231219 h 6891563"/>
              <a:gd name="connsiteX5" fmla="*/ 449580 w 6585056"/>
              <a:gd name="connsiteY5" fmla="*/ 1827359 h 6891563"/>
              <a:gd name="connsiteX6" fmla="*/ 0 w 6585056"/>
              <a:gd name="connsiteY6" fmla="*/ 1476839 h 6891563"/>
              <a:gd name="connsiteX7" fmla="*/ 5080 w 6585056"/>
              <a:gd name="connsiteY7" fmla="*/ 6179 h 6891563"/>
              <a:gd name="connsiteX0" fmla="*/ 5080 w 6625937"/>
              <a:gd name="connsiteY0" fmla="*/ 6179 h 6891563"/>
              <a:gd name="connsiteX1" fmla="*/ 6585056 w 6625937"/>
              <a:gd name="connsiteY1" fmla="*/ 0 h 6891563"/>
              <a:gd name="connsiteX2" fmla="*/ 6625937 w 6625937"/>
              <a:gd name="connsiteY2" fmla="*/ 6885384 h 6891563"/>
              <a:gd name="connsiteX3" fmla="*/ 5080 w 6625937"/>
              <a:gd name="connsiteY3" fmla="*/ 6891563 h 6891563"/>
              <a:gd name="connsiteX4" fmla="*/ 0 w 6625937"/>
              <a:gd name="connsiteY4" fmla="*/ 2231219 h 6891563"/>
              <a:gd name="connsiteX5" fmla="*/ 449580 w 6625937"/>
              <a:gd name="connsiteY5" fmla="*/ 1827359 h 6891563"/>
              <a:gd name="connsiteX6" fmla="*/ 0 w 6625937"/>
              <a:gd name="connsiteY6" fmla="*/ 1476839 h 6891563"/>
              <a:gd name="connsiteX7" fmla="*/ 5080 w 6625937"/>
              <a:gd name="connsiteY7" fmla="*/ 6179 h 6891563"/>
              <a:gd name="connsiteX0" fmla="*/ 5080 w 6614257"/>
              <a:gd name="connsiteY0" fmla="*/ 6179 h 6891563"/>
              <a:gd name="connsiteX1" fmla="*/ 6585056 w 6614257"/>
              <a:gd name="connsiteY1" fmla="*/ 0 h 6891563"/>
              <a:gd name="connsiteX2" fmla="*/ 6614257 w 6614257"/>
              <a:gd name="connsiteY2" fmla="*/ 6879206 h 6891563"/>
              <a:gd name="connsiteX3" fmla="*/ 5080 w 6614257"/>
              <a:gd name="connsiteY3" fmla="*/ 6891563 h 6891563"/>
              <a:gd name="connsiteX4" fmla="*/ 0 w 6614257"/>
              <a:gd name="connsiteY4" fmla="*/ 2231219 h 6891563"/>
              <a:gd name="connsiteX5" fmla="*/ 449580 w 6614257"/>
              <a:gd name="connsiteY5" fmla="*/ 1827359 h 6891563"/>
              <a:gd name="connsiteX6" fmla="*/ 0 w 6614257"/>
              <a:gd name="connsiteY6" fmla="*/ 1476839 h 6891563"/>
              <a:gd name="connsiteX7" fmla="*/ 5080 w 6614257"/>
              <a:gd name="connsiteY7" fmla="*/ 6179 h 6891563"/>
              <a:gd name="connsiteX0" fmla="*/ 5080 w 6596736"/>
              <a:gd name="connsiteY0" fmla="*/ 6179 h 6891563"/>
              <a:gd name="connsiteX1" fmla="*/ 6585056 w 6596736"/>
              <a:gd name="connsiteY1" fmla="*/ 0 h 6891563"/>
              <a:gd name="connsiteX2" fmla="*/ 6596736 w 6596736"/>
              <a:gd name="connsiteY2" fmla="*/ 6879206 h 6891563"/>
              <a:gd name="connsiteX3" fmla="*/ 5080 w 6596736"/>
              <a:gd name="connsiteY3" fmla="*/ 6891563 h 6891563"/>
              <a:gd name="connsiteX4" fmla="*/ 0 w 6596736"/>
              <a:gd name="connsiteY4" fmla="*/ 2231219 h 6891563"/>
              <a:gd name="connsiteX5" fmla="*/ 449580 w 6596736"/>
              <a:gd name="connsiteY5" fmla="*/ 1827359 h 6891563"/>
              <a:gd name="connsiteX6" fmla="*/ 0 w 6596736"/>
              <a:gd name="connsiteY6" fmla="*/ 1476839 h 6891563"/>
              <a:gd name="connsiteX7" fmla="*/ 5080 w 6596736"/>
              <a:gd name="connsiteY7" fmla="*/ 6179 h 6891563"/>
              <a:gd name="connsiteX0" fmla="*/ 5715 w 6597371"/>
              <a:gd name="connsiteY0" fmla="*/ 6179 h 6891563"/>
              <a:gd name="connsiteX1" fmla="*/ 6585691 w 6597371"/>
              <a:gd name="connsiteY1" fmla="*/ 0 h 6891563"/>
              <a:gd name="connsiteX2" fmla="*/ 6597371 w 6597371"/>
              <a:gd name="connsiteY2" fmla="*/ 6879206 h 6891563"/>
              <a:gd name="connsiteX3" fmla="*/ 5715 w 6597371"/>
              <a:gd name="connsiteY3" fmla="*/ 6891563 h 6891563"/>
              <a:gd name="connsiteX4" fmla="*/ 635 w 6597371"/>
              <a:gd name="connsiteY4" fmla="*/ 2231219 h 6891563"/>
              <a:gd name="connsiteX5" fmla="*/ 635 w 6597371"/>
              <a:gd name="connsiteY5" fmla="*/ 1476839 h 6891563"/>
              <a:gd name="connsiteX6" fmla="*/ 5715 w 6597371"/>
              <a:gd name="connsiteY6" fmla="*/ 6179 h 6891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371" h="6891563">
                <a:moveTo>
                  <a:pt x="5715" y="6179"/>
                </a:moveTo>
                <a:lnTo>
                  <a:pt x="6585691" y="0"/>
                </a:lnTo>
                <a:cubicBezTo>
                  <a:pt x="6589584" y="2293069"/>
                  <a:pt x="6593478" y="4586137"/>
                  <a:pt x="6597371" y="6879206"/>
                </a:cubicBezTo>
                <a:lnTo>
                  <a:pt x="5715" y="6891563"/>
                </a:lnTo>
                <a:cubicBezTo>
                  <a:pt x="9012" y="6061499"/>
                  <a:pt x="1482" y="3133673"/>
                  <a:pt x="635" y="2231219"/>
                </a:cubicBezTo>
                <a:cubicBezTo>
                  <a:pt x="-212" y="1328765"/>
                  <a:pt x="-212" y="1847679"/>
                  <a:pt x="635" y="1476839"/>
                </a:cubicBezTo>
                <a:cubicBezTo>
                  <a:pt x="2328" y="986619"/>
                  <a:pt x="4022" y="496399"/>
                  <a:pt x="5715" y="6179"/>
                </a:cubicBezTo>
                <a:close/>
              </a:path>
            </a:pathLst>
          </a:custGeom>
          <a:solidFill>
            <a:schemeClr val="accent1"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idx="1"/>
          </p:nvPr>
        </p:nvSpPr>
        <p:spPr>
          <a:xfrm>
            <a:off x="647594" y="1263040"/>
            <a:ext cx="5150628" cy="3600400"/>
          </a:xfrm>
        </p:spPr>
        <p:txBody>
          <a:bodyPr/>
          <a:lstStyle/>
          <a:p>
            <a:pPr>
              <a:buClr>
                <a:schemeClr val="bg1"/>
              </a:buClr>
              <a:buBlip>
                <a:blip r:embed="rId3"/>
              </a:buBlip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Blip>
                <a:blip r:embed="rId3"/>
              </a:buBlip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Blip>
                <a:blip r:embed="rId3"/>
              </a:buBlip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623392" y="258762"/>
            <a:ext cx="9754043" cy="424800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881309" y="6584951"/>
            <a:ext cx="5012928" cy="215900"/>
          </a:xfrm>
        </p:spPr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360363" y="6586439"/>
            <a:ext cx="493866" cy="216000"/>
          </a:xfrm>
        </p:spPr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30114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ersonenerkennung vor Updat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u="sng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16" name="Grafik 15" descr="Ein Bild, das Elektronik, Schaltkreis enthält.&#10;&#10;Automatisch generierte Beschreibung">
            <a:extLst>
              <a:ext uri="{FF2B5EF4-FFF2-40B4-BE49-F238E27FC236}">
                <a16:creationId xmlns:a16="http://schemas.microsoft.com/office/drawing/2014/main" id="{D37A788B-55BE-42E3-989D-E7C3CA26E51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587" y="2393076"/>
            <a:ext cx="2824065" cy="1728269"/>
          </a:xfrm>
          <a:prstGeom prst="rect">
            <a:avLst/>
          </a:prstGeom>
        </p:spPr>
      </p:pic>
      <p:pic>
        <p:nvPicPr>
          <p:cNvPr id="18" name="Grafik 1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D282D8C1-6FB0-4C2C-A045-62F3D1ED9FB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985" y="4936284"/>
            <a:ext cx="2937909" cy="1648667"/>
          </a:xfrm>
          <a:prstGeom prst="rect">
            <a:avLst/>
          </a:prstGeom>
        </p:spPr>
      </p:pic>
      <p:sp>
        <p:nvSpPr>
          <p:cNvPr id="24" name="Additionszeichen 23">
            <a:extLst>
              <a:ext uri="{FF2B5EF4-FFF2-40B4-BE49-F238E27FC236}">
                <a16:creationId xmlns:a16="http://schemas.microsoft.com/office/drawing/2014/main" id="{A8F54370-2BD0-4FCC-BEE9-BE0BE8A51D58}"/>
              </a:ext>
            </a:extLst>
          </p:cNvPr>
          <p:cNvSpPr/>
          <p:nvPr/>
        </p:nvSpPr>
        <p:spPr>
          <a:xfrm>
            <a:off x="1692619" y="4346582"/>
            <a:ext cx="720000" cy="72000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6" name="Grafik 25" descr="Ein Bild, das Katze, sitzend, Tier, drinnen enthält.&#10;&#10;Automatisch generierte Beschreibung">
            <a:extLst>
              <a:ext uri="{FF2B5EF4-FFF2-40B4-BE49-F238E27FC236}">
                <a16:creationId xmlns:a16="http://schemas.microsoft.com/office/drawing/2014/main" id="{42E04E6C-5A8D-412A-977E-4EDDE9D71E5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312" y="3428999"/>
            <a:ext cx="3563850" cy="2494694"/>
          </a:xfrm>
          <a:prstGeom prst="rect">
            <a:avLst/>
          </a:prstGeom>
        </p:spPr>
      </p:pic>
      <p:pic>
        <p:nvPicPr>
          <p:cNvPr id="30" name="Grafik 29" descr="Ein Bild, das Gebäude, Skifahren, Kind, Mann enthält.&#10;&#10;Automatisch generierte Beschreibung">
            <a:extLst>
              <a:ext uri="{FF2B5EF4-FFF2-40B4-BE49-F238E27FC236}">
                <a16:creationId xmlns:a16="http://schemas.microsoft.com/office/drawing/2014/main" id="{80CCA679-4FB6-48D1-8906-C02102EBD79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667" y="3189374"/>
            <a:ext cx="4333333" cy="2942857"/>
          </a:xfrm>
          <a:prstGeom prst="rect">
            <a:avLst/>
          </a:prstGeom>
        </p:spPr>
      </p:pic>
      <p:sp>
        <p:nvSpPr>
          <p:cNvPr id="34" name="Pfeil: gebogen 33">
            <a:extLst>
              <a:ext uri="{FF2B5EF4-FFF2-40B4-BE49-F238E27FC236}">
                <a16:creationId xmlns:a16="http://schemas.microsoft.com/office/drawing/2014/main" id="{7E7CE1F3-E32C-434B-BC81-A2793176927C}"/>
              </a:ext>
            </a:extLst>
          </p:cNvPr>
          <p:cNvSpPr/>
          <p:nvPr/>
        </p:nvSpPr>
        <p:spPr>
          <a:xfrm>
            <a:off x="3296355" y="2065867"/>
            <a:ext cx="1343377" cy="1333332"/>
          </a:xfrm>
          <a:prstGeom prst="circularArrow">
            <a:avLst>
              <a:gd name="adj1" fmla="val 10073"/>
              <a:gd name="adj2" fmla="val 1142319"/>
              <a:gd name="adj3" fmla="val 20893724"/>
              <a:gd name="adj4" fmla="val 10800000"/>
              <a:gd name="adj5" fmla="val 125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5" name="Pfeil: gebogen 34">
            <a:extLst>
              <a:ext uri="{FF2B5EF4-FFF2-40B4-BE49-F238E27FC236}">
                <a16:creationId xmlns:a16="http://schemas.microsoft.com/office/drawing/2014/main" id="{C299D7F8-4885-483E-BD81-C2249AD89C10}"/>
              </a:ext>
            </a:extLst>
          </p:cNvPr>
          <p:cNvSpPr/>
          <p:nvPr/>
        </p:nvSpPr>
        <p:spPr>
          <a:xfrm>
            <a:off x="6980445" y="2123537"/>
            <a:ext cx="1343377" cy="1333332"/>
          </a:xfrm>
          <a:prstGeom prst="circularArrow">
            <a:avLst>
              <a:gd name="adj1" fmla="val 10073"/>
              <a:gd name="adj2" fmla="val 1142319"/>
              <a:gd name="adj3" fmla="val 20893724"/>
              <a:gd name="adj4" fmla="val 10800000"/>
              <a:gd name="adj5" fmla="val 125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EEBF84E1-707A-41C2-96F9-38CB32B3B2E3}"/>
              </a:ext>
            </a:extLst>
          </p:cNvPr>
          <p:cNvSpPr txBox="1"/>
          <p:nvPr/>
        </p:nvSpPr>
        <p:spPr>
          <a:xfrm>
            <a:off x="2398369" y="1079633"/>
            <a:ext cx="31393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War und ist immer noch in der Lage Bilder mit hoher Frequenz zu veröffentlichen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8332CD18-18F9-4CA1-B6AC-BE33015C2F25}"/>
              </a:ext>
            </a:extLst>
          </p:cNvPr>
          <p:cNvSpPr txBox="1"/>
          <p:nvPr/>
        </p:nvSpPr>
        <p:spPr>
          <a:xfrm>
            <a:off x="6165611" y="1088214"/>
            <a:ext cx="356385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Bei einkommender Nachricht wurde der Verarbeitungsprozess getriggert (wegen der Eigenschaften von </a:t>
            </a:r>
            <a:r>
              <a:rPr lang="de-DE" sz="1600" b="1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Rospy</a:t>
            </a:r>
            <a:r>
              <a:rPr lang="de-DE" sz="16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2985723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ersonenerkennung nach Updat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u="sng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16" name="Grafik 15" descr="Ein Bild, das Elektronik, Schaltkreis enthält.&#10;&#10;Automatisch generierte Beschreibung">
            <a:extLst>
              <a:ext uri="{FF2B5EF4-FFF2-40B4-BE49-F238E27FC236}">
                <a16:creationId xmlns:a16="http://schemas.microsoft.com/office/drawing/2014/main" id="{D37A788B-55BE-42E3-989D-E7C3CA26E51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587" y="2393076"/>
            <a:ext cx="2824065" cy="1728269"/>
          </a:xfrm>
          <a:prstGeom prst="rect">
            <a:avLst/>
          </a:prstGeom>
        </p:spPr>
      </p:pic>
      <p:pic>
        <p:nvPicPr>
          <p:cNvPr id="18" name="Grafik 1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D282D8C1-6FB0-4C2C-A045-62F3D1ED9FB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985" y="4936284"/>
            <a:ext cx="2937909" cy="1648667"/>
          </a:xfrm>
          <a:prstGeom prst="rect">
            <a:avLst/>
          </a:prstGeom>
        </p:spPr>
      </p:pic>
      <p:sp>
        <p:nvSpPr>
          <p:cNvPr id="24" name="Additionszeichen 23">
            <a:extLst>
              <a:ext uri="{FF2B5EF4-FFF2-40B4-BE49-F238E27FC236}">
                <a16:creationId xmlns:a16="http://schemas.microsoft.com/office/drawing/2014/main" id="{A8F54370-2BD0-4FCC-BEE9-BE0BE8A51D58}"/>
              </a:ext>
            </a:extLst>
          </p:cNvPr>
          <p:cNvSpPr/>
          <p:nvPr/>
        </p:nvSpPr>
        <p:spPr>
          <a:xfrm>
            <a:off x="1692619" y="4346582"/>
            <a:ext cx="720000" cy="72000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6" name="Grafik 25" descr="Ein Bild, das Katze, sitzend, Tier, drinnen enthält.&#10;&#10;Automatisch generierte Beschreibung">
            <a:extLst>
              <a:ext uri="{FF2B5EF4-FFF2-40B4-BE49-F238E27FC236}">
                <a16:creationId xmlns:a16="http://schemas.microsoft.com/office/drawing/2014/main" id="{42E04E6C-5A8D-412A-977E-4EDDE9D71E5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312" y="3428999"/>
            <a:ext cx="3563850" cy="2494694"/>
          </a:xfrm>
          <a:prstGeom prst="rect">
            <a:avLst/>
          </a:prstGeom>
        </p:spPr>
      </p:pic>
      <p:pic>
        <p:nvPicPr>
          <p:cNvPr id="30" name="Grafik 29" descr="Ein Bild, das Gebäude, Skifahren, Kind, Mann enthält.&#10;&#10;Automatisch generierte Beschreibung">
            <a:extLst>
              <a:ext uri="{FF2B5EF4-FFF2-40B4-BE49-F238E27FC236}">
                <a16:creationId xmlns:a16="http://schemas.microsoft.com/office/drawing/2014/main" id="{80CCA679-4FB6-48D1-8906-C02102EBD79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667" y="3189374"/>
            <a:ext cx="4333333" cy="2942857"/>
          </a:xfrm>
          <a:prstGeom prst="rect">
            <a:avLst/>
          </a:prstGeom>
        </p:spPr>
      </p:pic>
      <p:sp>
        <p:nvSpPr>
          <p:cNvPr id="34" name="Pfeil: gebogen 33">
            <a:extLst>
              <a:ext uri="{FF2B5EF4-FFF2-40B4-BE49-F238E27FC236}">
                <a16:creationId xmlns:a16="http://schemas.microsoft.com/office/drawing/2014/main" id="{7E7CE1F3-E32C-434B-BC81-A2793176927C}"/>
              </a:ext>
            </a:extLst>
          </p:cNvPr>
          <p:cNvSpPr/>
          <p:nvPr/>
        </p:nvSpPr>
        <p:spPr>
          <a:xfrm>
            <a:off x="3296355" y="2065867"/>
            <a:ext cx="1343377" cy="1333332"/>
          </a:xfrm>
          <a:prstGeom prst="circularArrow">
            <a:avLst>
              <a:gd name="adj1" fmla="val 10073"/>
              <a:gd name="adj2" fmla="val 1142319"/>
              <a:gd name="adj3" fmla="val 20893724"/>
              <a:gd name="adj4" fmla="val 10800000"/>
              <a:gd name="adj5" fmla="val 125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5" name="Pfeil: gebogen 34">
            <a:extLst>
              <a:ext uri="{FF2B5EF4-FFF2-40B4-BE49-F238E27FC236}">
                <a16:creationId xmlns:a16="http://schemas.microsoft.com/office/drawing/2014/main" id="{C299D7F8-4885-483E-BD81-C2249AD89C10}"/>
              </a:ext>
            </a:extLst>
          </p:cNvPr>
          <p:cNvSpPr/>
          <p:nvPr/>
        </p:nvSpPr>
        <p:spPr>
          <a:xfrm>
            <a:off x="6980445" y="2123537"/>
            <a:ext cx="1343377" cy="1333332"/>
          </a:xfrm>
          <a:prstGeom prst="circularArrow">
            <a:avLst>
              <a:gd name="adj1" fmla="val 10073"/>
              <a:gd name="adj2" fmla="val 1142319"/>
              <a:gd name="adj3" fmla="val 20893724"/>
              <a:gd name="adj4" fmla="val 10800000"/>
              <a:gd name="adj5" fmla="val 125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EEBF84E1-707A-41C2-96F9-38CB32B3B2E3}"/>
              </a:ext>
            </a:extLst>
          </p:cNvPr>
          <p:cNvSpPr txBox="1"/>
          <p:nvPr/>
        </p:nvSpPr>
        <p:spPr>
          <a:xfrm>
            <a:off x="2398369" y="1079633"/>
            <a:ext cx="31393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War und ist immer noch in der Lage Bilder mit hoher Frequenz zu veröffentlichen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8332CD18-18F9-4CA1-B6AC-BE33015C2F25}"/>
              </a:ext>
            </a:extLst>
          </p:cNvPr>
          <p:cNvSpPr txBox="1"/>
          <p:nvPr/>
        </p:nvSpPr>
        <p:spPr>
          <a:xfrm>
            <a:off x="6165611" y="1088214"/>
            <a:ext cx="356385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Verarbeitung beider Kameras verläuft nun seriell und neue, eingehende Bilder haben keinen Einfluss auf die Verarbeitung</a:t>
            </a:r>
          </a:p>
        </p:txBody>
      </p:sp>
    </p:spTree>
    <p:extLst>
      <p:ext uri="{BB962C8B-B14F-4D97-AF65-F5344CB8AC3E}">
        <p14:creationId xmlns:p14="http://schemas.microsoft.com/office/powerpoint/2010/main" val="12323090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r>
              <a:rPr lang="de-DE" dirty="0"/>
              <a:t>Das QHD- Bild und die </a:t>
            </a:r>
            <a:r>
              <a:rPr lang="de-DE" dirty="0" err="1"/>
              <a:t>Pointcloud</a:t>
            </a:r>
            <a:r>
              <a:rPr lang="de-DE" dirty="0"/>
              <a:t> werden dem Programm weiterhin mit hoher Frequenz bereitgestellt.</a:t>
            </a:r>
          </a:p>
          <a:p>
            <a:r>
              <a:rPr lang="de-DE" dirty="0"/>
              <a:t>Der Verarbeitungsprozess holt sich immer das aktuelle Bild und verarbeitet es seriell für beide Kameras</a:t>
            </a:r>
          </a:p>
          <a:p>
            <a:r>
              <a:rPr lang="de-DE" dirty="0"/>
              <a:t>Ebenfalls wurde ein neuronales Netz (</a:t>
            </a:r>
            <a:r>
              <a:rPr lang="de-DE" dirty="0" err="1"/>
              <a:t>MobileNet</a:t>
            </a:r>
            <a:r>
              <a:rPr lang="de-DE" dirty="0"/>
              <a:t>) als Option hinzugefügt und mit dem vorhanden HOG verglich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läuterung des Updates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graphicFrame>
        <p:nvGraphicFramePr>
          <p:cNvPr id="3" name="Tabelle 4">
            <a:extLst>
              <a:ext uri="{FF2B5EF4-FFF2-40B4-BE49-F238E27FC236}">
                <a16:creationId xmlns:a16="http://schemas.microsoft.com/office/drawing/2014/main" id="{ACE1EEFC-196E-41F0-A6DA-810B236F0A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1529852"/>
              </p:ext>
            </p:extLst>
          </p:nvPr>
        </p:nvGraphicFramePr>
        <p:xfrm>
          <a:off x="360000" y="2789695"/>
          <a:ext cx="11469600" cy="3377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61395">
                  <a:extLst>
                    <a:ext uri="{9D8B030D-6E8A-4147-A177-3AD203B41FA5}">
                      <a16:colId xmlns:a16="http://schemas.microsoft.com/office/drawing/2014/main" val="3374509320"/>
                    </a:ext>
                  </a:extLst>
                </a:gridCol>
                <a:gridCol w="6108205">
                  <a:extLst>
                    <a:ext uri="{9D8B030D-6E8A-4147-A177-3AD203B41FA5}">
                      <a16:colId xmlns:a16="http://schemas.microsoft.com/office/drawing/2014/main" val="695456391"/>
                    </a:ext>
                  </a:extLst>
                </a:gridCol>
              </a:tblGrid>
              <a:tr h="583709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MobileNet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HO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27007964"/>
                  </a:ext>
                </a:extLst>
              </a:tr>
              <a:tr h="1043003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„Langsam“ 0,4s-0,5s pro Kamera also 0,8s-1,1s pro Ite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„Schnell“ 0,1s-0,3s pro Kamera also 0,3s-0,6s pro Iter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43548267"/>
                  </a:ext>
                </a:extLst>
              </a:tr>
              <a:tr h="583709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Erkennt ca. 25 verschiedene Objek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Erkennt nur Mensche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98712757"/>
                  </a:ext>
                </a:extLst>
              </a:tr>
              <a:tr h="583709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Erkennt auch sitzende Menschen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Erkennt lediglich stehende Mensche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20111999"/>
                  </a:ext>
                </a:extLst>
              </a:tr>
              <a:tr h="583709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Hohe Trefferquo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iedrige Trefferquot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415316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83857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r>
              <a:rPr lang="de-DE" dirty="0"/>
              <a:t>Vermutung: Durch das häufige Triggern des Verarbeitungsprozesses (der langsamer ist als die Bildfrequenz) entstehen Datenstaus. Dadurch verlangsamt sich der ganze Prozess. Ist das korrekt?</a:t>
            </a:r>
          </a:p>
          <a:p>
            <a:r>
              <a:rPr lang="de-DE" dirty="0"/>
              <a:t>Ein kleines Problem besteht noch: Selten wird ein Typenfehler geworfen, dessen Herkunft noch nicht ganz klar ist. Wird selbstverständlich behob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ragen und Problem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50753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5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245</Words>
  <Application>Microsoft Office PowerPoint</Application>
  <PresentationFormat>Breitbild</PresentationFormat>
  <Paragraphs>44</Paragraphs>
  <Slides>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2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Agenda</vt:lpstr>
      <vt:lpstr>Personenerkennung vor Update</vt:lpstr>
      <vt:lpstr>Personenerkennung nach Update</vt:lpstr>
      <vt:lpstr>Erläuterung des Updates</vt:lpstr>
      <vt:lpstr>Fragen und Probleme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Giuliano 'Giulli' Montorio</cp:lastModifiedBy>
  <cp:revision>20</cp:revision>
  <dcterms:created xsi:type="dcterms:W3CDTF">2019-09-25T11:15:24Z</dcterms:created>
  <dcterms:modified xsi:type="dcterms:W3CDTF">2020-06-18T07:3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